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37"/>
  </p:notesMasterIdLst>
  <p:sldIdLst>
    <p:sldId id="1442" r:id="rId2"/>
    <p:sldId id="1529" r:id="rId3"/>
    <p:sldId id="1511" r:id="rId4"/>
    <p:sldId id="1513" r:id="rId5"/>
    <p:sldId id="1526" r:id="rId6"/>
    <p:sldId id="1530" r:id="rId7"/>
    <p:sldId id="1515" r:id="rId8"/>
    <p:sldId id="1510" r:id="rId9"/>
    <p:sldId id="1517" r:id="rId10"/>
    <p:sldId id="1516" r:id="rId11"/>
    <p:sldId id="1532" r:id="rId12"/>
    <p:sldId id="1533" r:id="rId13"/>
    <p:sldId id="1534" r:id="rId14"/>
    <p:sldId id="1537" r:id="rId15"/>
    <p:sldId id="1535" r:id="rId16"/>
    <p:sldId id="1536" r:id="rId17"/>
    <p:sldId id="1538" r:id="rId18"/>
    <p:sldId id="1539" r:id="rId19"/>
    <p:sldId id="1541" r:id="rId20"/>
    <p:sldId id="1542" r:id="rId21"/>
    <p:sldId id="1543" r:id="rId22"/>
    <p:sldId id="1544" r:id="rId23"/>
    <p:sldId id="1514" r:id="rId24"/>
    <p:sldId id="1545" r:id="rId25"/>
    <p:sldId id="1512" r:id="rId26"/>
    <p:sldId id="1521" r:id="rId27"/>
    <p:sldId id="1522" r:id="rId28"/>
    <p:sldId id="1546" r:id="rId29"/>
    <p:sldId id="1547" r:id="rId30"/>
    <p:sldId id="1531" r:id="rId31"/>
    <p:sldId id="1518" r:id="rId32"/>
    <p:sldId id="1519" r:id="rId33"/>
    <p:sldId id="1540" r:id="rId34"/>
    <p:sldId id="1527" r:id="rId35"/>
    <p:sldId id="1489" r:id="rId3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484"/>
    <a:srgbClr val="5B7F95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96" d="100"/>
          <a:sy n="96" d="100"/>
        </p:scale>
        <p:origin x="102" y="1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2/13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C8667BE-1F70-4096-9538-4866769BF9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000" y="538284"/>
            <a:ext cx="3005180" cy="1116000"/>
          </a:xfrm>
          <a:prstGeom prst="rect">
            <a:avLst/>
          </a:prstGeom>
        </p:spPr>
      </p:pic>
      <p:pic>
        <p:nvPicPr>
          <p:cNvPr id="12" name="Picture 11" descr="Shape, rectangle&#10;&#10;Description automatically generated">
            <a:extLst>
              <a:ext uri="{FF2B5EF4-FFF2-40B4-BE49-F238E27FC236}">
                <a16:creationId xmlns:a16="http://schemas.microsoft.com/office/drawing/2014/main" id="{9CB7792A-8353-4698-8F95-3D0F84F7C208}"/>
              </a:ext>
            </a:extLst>
          </p:cNvPr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248" y="2109600"/>
            <a:ext cx="10341246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530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24942708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146859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69923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02657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524DAC6-DF6A-4E9E-AF01-59285C842E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807200" y="6224400"/>
            <a:ext cx="981520" cy="360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C5F1506-0FF1-476A-9766-95A867527B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010579" y="6163200"/>
            <a:ext cx="802636" cy="3960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76EA556-A3BD-4FF6-8BEA-8F76767CAD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96000" y="6224400"/>
            <a:ext cx="10476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06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397139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48057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818478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48074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6364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67760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6922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2985197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0363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07EE453-2D8E-4F79-8014-FEB5799A071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204000" y="2016000"/>
            <a:ext cx="1620000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35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err="1">
                <a:solidFill>
                  <a:prstClr val="white"/>
                </a:solidFill>
                <a:cs typeface="Century Gothic"/>
              </a:rPr>
              <a:t>Dankie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4911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24711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602451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7691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347081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185981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065792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5560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3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5.emf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30" imgW="360" imgH="360" progId="">
                  <p:embed/>
                </p:oleObj>
              </mc:Choice>
              <mc:Fallback>
                <p:oleObj name="think-cell Slide" r:id="rId3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30A2B8C-829C-48A4-AE9A-484F3A5EC729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1808130" y="6223566"/>
            <a:ext cx="981519" cy="360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8A40CB-9313-45BF-8601-903C9AED84F5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3011138" y="6162240"/>
            <a:ext cx="804011" cy="396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779CF09-DF19-4E49-8392-CBB458A8CA5E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396000" y="6223566"/>
            <a:ext cx="1047600" cy="34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2435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image" Target="../media/image31.emf"/><Relationship Id="rId18" Type="http://schemas.openxmlformats.org/officeDocument/2006/relationships/image" Target="../media/image36.emf"/><Relationship Id="rId3" Type="http://schemas.openxmlformats.org/officeDocument/2006/relationships/image" Target="../media/image21.emf"/><Relationship Id="rId7" Type="http://schemas.openxmlformats.org/officeDocument/2006/relationships/image" Target="../media/image25.emf"/><Relationship Id="rId12" Type="http://schemas.openxmlformats.org/officeDocument/2006/relationships/image" Target="../media/image30.emf"/><Relationship Id="rId17" Type="http://schemas.openxmlformats.org/officeDocument/2006/relationships/image" Target="../media/image35.emf"/><Relationship Id="rId2" Type="http://schemas.openxmlformats.org/officeDocument/2006/relationships/image" Target="../media/image20.emf"/><Relationship Id="rId16" Type="http://schemas.openxmlformats.org/officeDocument/2006/relationships/image" Target="../media/image34.emf"/><Relationship Id="rId20" Type="http://schemas.openxmlformats.org/officeDocument/2006/relationships/image" Target="../media/image38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4.emf"/><Relationship Id="rId11" Type="http://schemas.openxmlformats.org/officeDocument/2006/relationships/image" Target="../media/image29.emf"/><Relationship Id="rId5" Type="http://schemas.openxmlformats.org/officeDocument/2006/relationships/image" Target="../media/image23.emf"/><Relationship Id="rId15" Type="http://schemas.openxmlformats.org/officeDocument/2006/relationships/image" Target="../media/image33.emf"/><Relationship Id="rId10" Type="http://schemas.openxmlformats.org/officeDocument/2006/relationships/image" Target="../media/image28.emf"/><Relationship Id="rId19" Type="http://schemas.openxmlformats.org/officeDocument/2006/relationships/image" Target="../media/image37.emf"/><Relationship Id="rId4" Type="http://schemas.openxmlformats.org/officeDocument/2006/relationships/image" Target="../media/image22.emf"/><Relationship Id="rId9" Type="http://schemas.openxmlformats.org/officeDocument/2006/relationships/image" Target="../media/image27.emf"/><Relationship Id="rId14" Type="http://schemas.openxmlformats.org/officeDocument/2006/relationships/image" Target="../media/image32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13" Type="http://schemas.openxmlformats.org/officeDocument/2006/relationships/image" Target="../media/image50.emf"/><Relationship Id="rId18" Type="http://schemas.openxmlformats.org/officeDocument/2006/relationships/image" Target="../media/image55.emf"/><Relationship Id="rId3" Type="http://schemas.openxmlformats.org/officeDocument/2006/relationships/image" Target="../media/image40.emf"/><Relationship Id="rId21" Type="http://schemas.openxmlformats.org/officeDocument/2006/relationships/image" Target="../media/image58.emf"/><Relationship Id="rId7" Type="http://schemas.openxmlformats.org/officeDocument/2006/relationships/image" Target="../media/image44.emf"/><Relationship Id="rId12" Type="http://schemas.openxmlformats.org/officeDocument/2006/relationships/image" Target="../media/image49.emf"/><Relationship Id="rId17" Type="http://schemas.openxmlformats.org/officeDocument/2006/relationships/image" Target="../media/image54.emf"/><Relationship Id="rId2" Type="http://schemas.openxmlformats.org/officeDocument/2006/relationships/image" Target="../media/image39.emf"/><Relationship Id="rId16" Type="http://schemas.openxmlformats.org/officeDocument/2006/relationships/image" Target="../media/image53.emf"/><Relationship Id="rId20" Type="http://schemas.openxmlformats.org/officeDocument/2006/relationships/image" Target="../media/image57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3.emf"/><Relationship Id="rId11" Type="http://schemas.openxmlformats.org/officeDocument/2006/relationships/image" Target="../media/image48.emf"/><Relationship Id="rId5" Type="http://schemas.openxmlformats.org/officeDocument/2006/relationships/image" Target="../media/image42.emf"/><Relationship Id="rId15" Type="http://schemas.openxmlformats.org/officeDocument/2006/relationships/image" Target="../media/image52.emf"/><Relationship Id="rId10" Type="http://schemas.openxmlformats.org/officeDocument/2006/relationships/image" Target="../media/image47.emf"/><Relationship Id="rId19" Type="http://schemas.openxmlformats.org/officeDocument/2006/relationships/image" Target="../media/image56.emf"/><Relationship Id="rId4" Type="http://schemas.openxmlformats.org/officeDocument/2006/relationships/image" Target="../media/image41.emf"/><Relationship Id="rId9" Type="http://schemas.openxmlformats.org/officeDocument/2006/relationships/image" Target="../media/image46.emf"/><Relationship Id="rId14" Type="http://schemas.openxmlformats.org/officeDocument/2006/relationships/image" Target="../media/image51.emf"/><Relationship Id="rId22" Type="http://schemas.openxmlformats.org/officeDocument/2006/relationships/image" Target="../media/image59.emf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13" Type="http://schemas.openxmlformats.org/officeDocument/2006/relationships/image" Target="../media/image71.emf"/><Relationship Id="rId18" Type="http://schemas.openxmlformats.org/officeDocument/2006/relationships/image" Target="../media/image76.emf"/><Relationship Id="rId26" Type="http://schemas.openxmlformats.org/officeDocument/2006/relationships/image" Target="../media/image84.emf"/><Relationship Id="rId3" Type="http://schemas.openxmlformats.org/officeDocument/2006/relationships/image" Target="../media/image61.emf"/><Relationship Id="rId21" Type="http://schemas.openxmlformats.org/officeDocument/2006/relationships/image" Target="../media/image79.emf"/><Relationship Id="rId7" Type="http://schemas.openxmlformats.org/officeDocument/2006/relationships/image" Target="../media/image65.emf"/><Relationship Id="rId12" Type="http://schemas.openxmlformats.org/officeDocument/2006/relationships/image" Target="../media/image70.emf"/><Relationship Id="rId17" Type="http://schemas.openxmlformats.org/officeDocument/2006/relationships/image" Target="../media/image75.emf"/><Relationship Id="rId25" Type="http://schemas.openxmlformats.org/officeDocument/2006/relationships/image" Target="../media/image83.emf"/><Relationship Id="rId2" Type="http://schemas.openxmlformats.org/officeDocument/2006/relationships/image" Target="../media/image60.emf"/><Relationship Id="rId16" Type="http://schemas.openxmlformats.org/officeDocument/2006/relationships/image" Target="../media/image74.emf"/><Relationship Id="rId20" Type="http://schemas.openxmlformats.org/officeDocument/2006/relationships/image" Target="../media/image78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64.emf"/><Relationship Id="rId11" Type="http://schemas.openxmlformats.org/officeDocument/2006/relationships/image" Target="../media/image69.emf"/><Relationship Id="rId24" Type="http://schemas.openxmlformats.org/officeDocument/2006/relationships/image" Target="../media/image82.emf"/><Relationship Id="rId5" Type="http://schemas.openxmlformats.org/officeDocument/2006/relationships/image" Target="../media/image63.emf"/><Relationship Id="rId15" Type="http://schemas.openxmlformats.org/officeDocument/2006/relationships/image" Target="../media/image73.png"/><Relationship Id="rId23" Type="http://schemas.openxmlformats.org/officeDocument/2006/relationships/image" Target="../media/image81.emf"/><Relationship Id="rId28" Type="http://schemas.openxmlformats.org/officeDocument/2006/relationships/image" Target="../media/image86.emf"/><Relationship Id="rId10" Type="http://schemas.openxmlformats.org/officeDocument/2006/relationships/image" Target="../media/image68.emf"/><Relationship Id="rId19" Type="http://schemas.openxmlformats.org/officeDocument/2006/relationships/image" Target="../media/image77.emf"/><Relationship Id="rId4" Type="http://schemas.openxmlformats.org/officeDocument/2006/relationships/image" Target="../media/image62.emf"/><Relationship Id="rId9" Type="http://schemas.openxmlformats.org/officeDocument/2006/relationships/image" Target="../media/image67.emf"/><Relationship Id="rId14" Type="http://schemas.openxmlformats.org/officeDocument/2006/relationships/image" Target="../media/image72.emf"/><Relationship Id="rId22" Type="http://schemas.openxmlformats.org/officeDocument/2006/relationships/image" Target="../media/image80.emf"/><Relationship Id="rId27" Type="http://schemas.openxmlformats.org/officeDocument/2006/relationships/image" Target="../media/image85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13" Type="http://schemas.openxmlformats.org/officeDocument/2006/relationships/image" Target="../media/image31.emf"/><Relationship Id="rId18" Type="http://schemas.openxmlformats.org/officeDocument/2006/relationships/image" Target="../media/image88.emf"/><Relationship Id="rId3" Type="http://schemas.openxmlformats.org/officeDocument/2006/relationships/image" Target="../media/image21.emf"/><Relationship Id="rId7" Type="http://schemas.openxmlformats.org/officeDocument/2006/relationships/image" Target="../media/image26.emf"/><Relationship Id="rId12" Type="http://schemas.openxmlformats.org/officeDocument/2006/relationships/image" Target="../media/image30.emf"/><Relationship Id="rId17" Type="http://schemas.openxmlformats.org/officeDocument/2006/relationships/image" Target="../media/image87.emf"/><Relationship Id="rId2" Type="http://schemas.openxmlformats.org/officeDocument/2006/relationships/image" Target="../media/image20.emf"/><Relationship Id="rId16" Type="http://schemas.openxmlformats.org/officeDocument/2006/relationships/image" Target="../media/image37.emf"/><Relationship Id="rId20" Type="http://schemas.openxmlformats.org/officeDocument/2006/relationships/image" Target="../media/image90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4.emf"/><Relationship Id="rId11" Type="http://schemas.openxmlformats.org/officeDocument/2006/relationships/image" Target="../media/image36.emf"/><Relationship Id="rId5" Type="http://schemas.openxmlformats.org/officeDocument/2006/relationships/image" Target="../media/image23.emf"/><Relationship Id="rId15" Type="http://schemas.openxmlformats.org/officeDocument/2006/relationships/image" Target="../media/image38.emf"/><Relationship Id="rId10" Type="http://schemas.openxmlformats.org/officeDocument/2006/relationships/image" Target="../media/image29.emf"/><Relationship Id="rId19" Type="http://schemas.openxmlformats.org/officeDocument/2006/relationships/image" Target="../media/image89.emf"/><Relationship Id="rId4" Type="http://schemas.openxmlformats.org/officeDocument/2006/relationships/image" Target="../media/image22.emf"/><Relationship Id="rId9" Type="http://schemas.openxmlformats.org/officeDocument/2006/relationships/image" Target="../media/image28.emf"/><Relationship Id="rId14" Type="http://schemas.openxmlformats.org/officeDocument/2006/relationships/image" Target="../media/image35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13" Type="http://schemas.openxmlformats.org/officeDocument/2006/relationships/image" Target="../media/image53.emf"/><Relationship Id="rId18" Type="http://schemas.openxmlformats.org/officeDocument/2006/relationships/image" Target="../media/image50.emf"/><Relationship Id="rId3" Type="http://schemas.openxmlformats.org/officeDocument/2006/relationships/image" Target="../media/image40.emf"/><Relationship Id="rId21" Type="http://schemas.openxmlformats.org/officeDocument/2006/relationships/image" Target="../media/image52.emf"/><Relationship Id="rId7" Type="http://schemas.openxmlformats.org/officeDocument/2006/relationships/image" Target="../media/image44.emf"/><Relationship Id="rId12" Type="http://schemas.openxmlformats.org/officeDocument/2006/relationships/image" Target="../media/image48.emf"/><Relationship Id="rId17" Type="http://schemas.openxmlformats.org/officeDocument/2006/relationships/image" Target="../media/image49.emf"/><Relationship Id="rId2" Type="http://schemas.openxmlformats.org/officeDocument/2006/relationships/image" Target="../media/image39.emf"/><Relationship Id="rId16" Type="http://schemas.openxmlformats.org/officeDocument/2006/relationships/image" Target="../media/image47.emf"/><Relationship Id="rId20" Type="http://schemas.openxmlformats.org/officeDocument/2006/relationships/image" Target="../media/image5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emf"/><Relationship Id="rId11" Type="http://schemas.openxmlformats.org/officeDocument/2006/relationships/image" Target="../media/image91.emf"/><Relationship Id="rId5" Type="http://schemas.openxmlformats.org/officeDocument/2006/relationships/image" Target="../media/image42.emf"/><Relationship Id="rId15" Type="http://schemas.openxmlformats.org/officeDocument/2006/relationships/image" Target="../media/image55.emf"/><Relationship Id="rId10" Type="http://schemas.openxmlformats.org/officeDocument/2006/relationships/image" Target="../media/image46.emf"/><Relationship Id="rId19" Type="http://schemas.openxmlformats.org/officeDocument/2006/relationships/image" Target="../media/image92.emf"/><Relationship Id="rId4" Type="http://schemas.openxmlformats.org/officeDocument/2006/relationships/image" Target="../media/image41.emf"/><Relationship Id="rId9" Type="http://schemas.openxmlformats.org/officeDocument/2006/relationships/image" Target="../media/image56.emf"/><Relationship Id="rId14" Type="http://schemas.openxmlformats.org/officeDocument/2006/relationships/image" Target="../media/image54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emf"/><Relationship Id="rId13" Type="http://schemas.openxmlformats.org/officeDocument/2006/relationships/image" Target="../media/image73.png"/><Relationship Id="rId18" Type="http://schemas.openxmlformats.org/officeDocument/2006/relationships/image" Target="../media/image77.emf"/><Relationship Id="rId26" Type="http://schemas.openxmlformats.org/officeDocument/2006/relationships/image" Target="../media/image84.emf"/><Relationship Id="rId3" Type="http://schemas.openxmlformats.org/officeDocument/2006/relationships/image" Target="../media/image61.emf"/><Relationship Id="rId21" Type="http://schemas.openxmlformats.org/officeDocument/2006/relationships/image" Target="../media/image80.emf"/><Relationship Id="rId7" Type="http://schemas.openxmlformats.org/officeDocument/2006/relationships/image" Target="../media/image65.emf"/><Relationship Id="rId12" Type="http://schemas.openxmlformats.org/officeDocument/2006/relationships/image" Target="../media/image71.emf"/><Relationship Id="rId17" Type="http://schemas.openxmlformats.org/officeDocument/2006/relationships/image" Target="../media/image76.emf"/><Relationship Id="rId25" Type="http://schemas.openxmlformats.org/officeDocument/2006/relationships/image" Target="../media/image83.emf"/><Relationship Id="rId2" Type="http://schemas.openxmlformats.org/officeDocument/2006/relationships/image" Target="../media/image60.emf"/><Relationship Id="rId16" Type="http://schemas.openxmlformats.org/officeDocument/2006/relationships/image" Target="../media/image75.emf"/><Relationship Id="rId20" Type="http://schemas.openxmlformats.org/officeDocument/2006/relationships/image" Target="../media/image79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4.emf"/><Relationship Id="rId11" Type="http://schemas.openxmlformats.org/officeDocument/2006/relationships/image" Target="../media/image70.emf"/><Relationship Id="rId24" Type="http://schemas.openxmlformats.org/officeDocument/2006/relationships/image" Target="../media/image72.emf"/><Relationship Id="rId5" Type="http://schemas.openxmlformats.org/officeDocument/2006/relationships/image" Target="../media/image63.emf"/><Relationship Id="rId15" Type="http://schemas.openxmlformats.org/officeDocument/2006/relationships/image" Target="../media/image74.emf"/><Relationship Id="rId23" Type="http://schemas.openxmlformats.org/officeDocument/2006/relationships/image" Target="../media/image82.emf"/><Relationship Id="rId28" Type="http://schemas.openxmlformats.org/officeDocument/2006/relationships/image" Target="../media/image86.emf"/><Relationship Id="rId10" Type="http://schemas.openxmlformats.org/officeDocument/2006/relationships/image" Target="../media/image68.emf"/><Relationship Id="rId19" Type="http://schemas.openxmlformats.org/officeDocument/2006/relationships/image" Target="../media/image78.emf"/><Relationship Id="rId4" Type="http://schemas.openxmlformats.org/officeDocument/2006/relationships/image" Target="../media/image62.emf"/><Relationship Id="rId9" Type="http://schemas.openxmlformats.org/officeDocument/2006/relationships/image" Target="../media/image67.emf"/><Relationship Id="rId14" Type="http://schemas.openxmlformats.org/officeDocument/2006/relationships/image" Target="../media/image69.emf"/><Relationship Id="rId22" Type="http://schemas.openxmlformats.org/officeDocument/2006/relationships/image" Target="../media/image81.emf"/><Relationship Id="rId27" Type="http://schemas.openxmlformats.org/officeDocument/2006/relationships/image" Target="../media/image85.emf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eg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emf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emf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emf"/><Relationship Id="rId7" Type="http://schemas.openxmlformats.org/officeDocument/2006/relationships/image" Target="../media/image103.emf"/><Relationship Id="rId2" Type="http://schemas.openxmlformats.org/officeDocument/2006/relationships/image" Target="../media/image98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02.emf"/><Relationship Id="rId5" Type="http://schemas.openxmlformats.org/officeDocument/2006/relationships/image" Target="../media/image101.emf"/><Relationship Id="rId4" Type="http://schemas.openxmlformats.org/officeDocument/2006/relationships/image" Target="../media/image100.emf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emf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emf"/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emf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emf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emf"/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emf"/><Relationship Id="rId2" Type="http://schemas.openxmlformats.org/officeDocument/2006/relationships/image" Target="../media/image108.emf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0.emf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7" Type="http://schemas.openxmlformats.org/officeDocument/2006/relationships/image" Target="../media/image16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emf"/><Relationship Id="rId5" Type="http://schemas.openxmlformats.org/officeDocument/2006/relationships/image" Target="../media/image15.emf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4000" b="1" dirty="0"/>
              <a:t>2022 WKOD </a:t>
            </a:r>
            <a:r>
              <a:rPr lang="en-ZA" sz="4000" b="1" dirty="0" err="1"/>
              <a:t>Handelsmerkhulpbronne</a:t>
            </a:r>
            <a:endParaRPr lang="en-ZA" sz="4000" b="1" dirty="0"/>
          </a:p>
          <a:p>
            <a:endParaRPr lang="en-ZA" sz="3600" dirty="0"/>
          </a:p>
          <a:p>
            <a:r>
              <a:rPr lang="en-ZA" sz="3600" dirty="0"/>
              <a:t>Logos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Temas</a:t>
            </a:r>
            <a:r>
              <a:rPr lang="en-ZA" sz="3600" dirty="0"/>
              <a:t>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Visie</a:t>
            </a:r>
            <a:r>
              <a:rPr lang="en-ZA" sz="3600" dirty="0"/>
              <a:t>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Waardes</a:t>
            </a:r>
            <a:r>
              <a:rPr lang="en-ZA" sz="3600" dirty="0"/>
              <a:t>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emoji’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13 </a:t>
            </a:r>
            <a:r>
              <a:rPr lang="en-ZA" dirty="0" err="1">
                <a:solidFill>
                  <a:schemeClr val="bg1"/>
                </a:solidFill>
              </a:rPr>
              <a:t>Desember</a:t>
            </a:r>
            <a:r>
              <a:rPr lang="en-ZA" dirty="0">
                <a:solidFill>
                  <a:schemeClr val="bg1"/>
                </a:solidFill>
              </a:rPr>
              <a:t> 2021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 err="1">
                <a:solidFill>
                  <a:schemeClr val="bg1"/>
                </a:solidFill>
              </a:rPr>
              <a:t>Onderwys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782B2-8B73-458A-86A3-4442A24F6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52E358-FB3D-486E-9E9D-1AD2F28E98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8231" y="2160000"/>
            <a:ext cx="4813880" cy="14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7600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54987B-0DE2-46F3-8CB0-2747B5DB59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/>
              <a:t>Lys van emoji’s </a:t>
            </a:r>
          </a:p>
        </p:txBody>
      </p:sp>
    </p:spTree>
    <p:extLst>
      <p:ext uri="{BB962C8B-B14F-4D97-AF65-F5344CB8AC3E}">
        <p14:creationId xmlns:p14="http://schemas.microsoft.com/office/powerpoint/2010/main" val="87590555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02413C2-2FA6-489B-B072-FF190C751A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10244" y="737873"/>
            <a:ext cx="927100" cy="850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EECF3DC-5902-417C-A4C0-7A09028B71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43282" y="737873"/>
            <a:ext cx="927100" cy="8509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F4766D7D-411C-4288-A8AE-6923036B313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76320" y="729990"/>
            <a:ext cx="927100" cy="8509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9F176AC-3178-4655-89DC-8AD7D04C4C7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5740" y="2601292"/>
            <a:ext cx="1077369" cy="100041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1E81CBC-B24E-432E-9DEB-629E39E3E61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24223" y="2586323"/>
            <a:ext cx="1077369" cy="100041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B9DADB4-4389-4B7B-90D5-83B1C12CFF1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2706" y="2593808"/>
            <a:ext cx="1077369" cy="100041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5F1879A-E161-4196-9D8C-3AD02A03C29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18817" y="2499694"/>
            <a:ext cx="500207" cy="100041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CCE4F00-2059-49E4-BDFC-93BC7A1F14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03723" y="2499694"/>
            <a:ext cx="500207" cy="100041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8C670128-508B-4C9B-873B-96E7BBDA01D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965845" y="2482429"/>
            <a:ext cx="500207" cy="100041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5BC6123-DF7C-47F7-A1AB-41654F079CA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760980" y="4702806"/>
            <a:ext cx="859536" cy="79620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843B686-CCD2-468D-8E76-77AC7EADCE69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666232" y="4356008"/>
            <a:ext cx="859536" cy="1143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CBACCE-8DC3-49FA-A4C7-EF14CFC70FF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83214" y="4605699"/>
            <a:ext cx="907892" cy="6832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9CCAAAC4-4F24-4FD5-A8B7-180F6D41B53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46259" y="777508"/>
            <a:ext cx="1049469" cy="103538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D31E765-10F7-4C5D-BE50-54939DB63BC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846854" y="767121"/>
            <a:ext cx="1077369" cy="1062908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94B4BCAC-E54F-4308-8F6F-7F19C6017F32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235677" y="777508"/>
            <a:ext cx="1077370" cy="106290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A79F154-BDB6-4855-ABCC-277773D8767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333287" y="4622495"/>
            <a:ext cx="859536" cy="64759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6AD4832E-38A1-40B5-B8BA-68A88B10310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629134" y="4709093"/>
            <a:ext cx="859536" cy="79620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ADD6C70-B7A3-4241-9ADA-DC6603F4830D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311088" y="4605699"/>
            <a:ext cx="927100" cy="69850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AE09E1F1-7488-4503-BF67-BF6C5ACD1F25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713936" y="4702806"/>
            <a:ext cx="859536" cy="7962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76990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523C0DDE-25B9-4CBA-8D00-2F47950E24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04900" y="898654"/>
            <a:ext cx="666891" cy="7061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C0F68741-3910-4DC9-A24F-0374835B04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0151" y="898654"/>
            <a:ext cx="666891" cy="70612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4D570320-8C6C-478A-A6B8-C141EC60B4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15402" y="898654"/>
            <a:ext cx="666891" cy="70612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86B9C71-9D96-40E5-8847-EE61CCD9ABC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85583" y="898654"/>
            <a:ext cx="1092200" cy="1092200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D9C4624D-6A93-4C2F-97D1-FF43BF89260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70938" y="880261"/>
            <a:ext cx="1092200" cy="10922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414999B-C408-460A-9A24-1A26EC456A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346385" y="898654"/>
            <a:ext cx="1092200" cy="1092200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A9F4532-9A88-47B4-B15F-0569CC4188B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78683" y="753261"/>
            <a:ext cx="1346200" cy="134620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793C7677-041C-4989-875B-63CFA121522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810759" y="2523633"/>
            <a:ext cx="1065957" cy="99049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E92205C3-A4EE-467A-A37E-29B73F3D46F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0765" y="4408380"/>
            <a:ext cx="1359444" cy="908930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3A90176E-F61E-414D-AF61-5DD66BE348D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970392" y="2550628"/>
            <a:ext cx="1028700" cy="9525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F02C6CB-CAD2-4DC8-B38D-276C6981E466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45723" y="4494436"/>
            <a:ext cx="1359444" cy="909782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44DD9A8-C2C4-4608-B3E6-5782FFD9E5B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343044" y="4572537"/>
            <a:ext cx="1207403" cy="808031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EE024CE-7C33-43DC-9D05-B45066EC67F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418063" y="4173504"/>
            <a:ext cx="1208731" cy="116268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EEEE447-6FF1-48D4-B78D-49330FF1B80D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734985" y="4154626"/>
            <a:ext cx="1212160" cy="1162684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4B4ED63E-6388-4093-AE4E-16A70BCDC58B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377313" y="2557106"/>
            <a:ext cx="882602" cy="93954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F5D577EB-FECC-4767-AD3D-0D0B3CF88749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332102" y="2560766"/>
            <a:ext cx="881867" cy="938762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C17585F8-CFB8-4CEF-92CA-DB881443945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286156" y="2565009"/>
            <a:ext cx="894773" cy="9525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08159675-C6D2-4CD2-8328-15AEED5ECC0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690368" y="2272520"/>
            <a:ext cx="1525034" cy="1119832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605A1CEF-648C-4F6B-B527-0416DD73A12C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869505" y="2575530"/>
            <a:ext cx="1028700" cy="952500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6D7C8CAF-C0BD-4E05-9C57-E2F37C22ECF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6892384" y="4095124"/>
            <a:ext cx="1359444" cy="1309094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1F27CF37-1F84-422C-BDA4-CD2B68728D9E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378086" y="4470785"/>
            <a:ext cx="1359446" cy="9097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2820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43">
            <a:extLst>
              <a:ext uri="{FF2B5EF4-FFF2-40B4-BE49-F238E27FC236}">
                <a16:creationId xmlns:a16="http://schemas.microsoft.com/office/drawing/2014/main" id="{ED3C8807-BA43-4A63-814A-6D501EE16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83647" y="679020"/>
            <a:ext cx="795165" cy="887806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1152EA5A-AD9D-40A3-AFB1-7754F96FA7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3786" y="679021"/>
            <a:ext cx="795165" cy="887805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E9F7B9C2-03D1-4F6D-A7F1-8ACCC5376B4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23925" y="667715"/>
            <a:ext cx="795165" cy="887806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4642A485-0CD0-4C38-9066-0C4F07F4AB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68549" y="636632"/>
            <a:ext cx="1085286" cy="93799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F94C459E-7FE7-4B6B-AEBD-E5FE659B21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57474" y="631681"/>
            <a:ext cx="1085286" cy="937997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120447DF-B945-4C69-8040-38FE5C366F2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46399" y="631680"/>
            <a:ext cx="1085287" cy="937998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3439E935-F127-4D2A-BD91-F0AECA337E5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52512" y="2166944"/>
            <a:ext cx="647859" cy="887806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038DDA92-3D69-4AD4-8340-492FDDAD994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45517" y="2163334"/>
            <a:ext cx="647858" cy="88780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6F037621-8E04-4423-93C0-7E22BD3626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457095" y="2163334"/>
            <a:ext cx="647858" cy="887805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C09CFD5F-5DB9-4B3A-B44B-DDFE1EF3DD73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859671" y="3586536"/>
            <a:ext cx="901043" cy="97908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6D359D91-2E6B-45AD-9771-84753FAE1F7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00530" y="2196745"/>
            <a:ext cx="906610" cy="670514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9A458074-2A70-449F-BAD4-97597C433AD2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852866" y="2149438"/>
            <a:ext cx="906610" cy="67051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081911BF-F8EF-4F04-8F74-2991D88BBB91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615017" y="3427504"/>
            <a:ext cx="2210363" cy="1930360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0AE65F72-A99A-4508-B023-4D641C637057}"/>
              </a:ext>
            </a:extLst>
          </p:cNvPr>
          <p:cNvPicPr>
            <a:picLocks noChangeAspect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0543" y="1972049"/>
            <a:ext cx="1090065" cy="1025293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B8244B77-CFAB-4AEC-BCDE-0191C861073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5081448" y="3683362"/>
            <a:ext cx="949760" cy="807296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42104DFB-E41E-4E30-8FEC-307130B31137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081543" y="3671161"/>
            <a:ext cx="949760" cy="807296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68C1B4AC-9949-4BDD-8B1A-FD1EFA70D141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107714" y="3671161"/>
            <a:ext cx="949760" cy="807296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69FF4485-14CF-4F19-8FE0-337E49A1D238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031208" y="4840306"/>
            <a:ext cx="1000095" cy="581755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826EC551-C30A-42B3-B7C4-C7E7A67E71D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101183" y="4840306"/>
            <a:ext cx="1000095" cy="581755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2993D3E-EF6C-40D8-A0A7-800DF2BF4DFA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011568" y="4857752"/>
            <a:ext cx="949760" cy="55247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4C9B7DBD-67F8-4F12-B322-E1CF396723CA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2700465" y="4802256"/>
            <a:ext cx="390939" cy="840519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1AD59CDC-0EF1-4441-886E-D33AF22A6CAB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123053" y="4808679"/>
            <a:ext cx="387951" cy="834095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8B65162C-448A-4A46-86E0-486AE0908E2A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3556502" y="4808678"/>
            <a:ext cx="387951" cy="834095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36CAA9D4-22CE-43F2-84F4-1E9ECDC518A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470403" y="2033845"/>
            <a:ext cx="1219200" cy="901700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82B3BDE8-6ECA-4E35-A052-C4A9FE3CD6A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957735" y="569760"/>
            <a:ext cx="1361598" cy="1385912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182EEDC7-71A9-404D-B89E-0938A824E7E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004585" y="2142480"/>
            <a:ext cx="1361598" cy="1385912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0BCF5852-7719-40E7-800F-ACE90E52F94D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086984" y="3720863"/>
            <a:ext cx="1361598" cy="13859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279305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0E030-4E3B-47F4-9D67-8A7525220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con Library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946B981-F9AF-4D38-B97F-96CCFD896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56446" y="1717930"/>
            <a:ext cx="927100" cy="85090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309C590A-E2C5-4985-9F40-6000331C8D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789484" y="1717930"/>
            <a:ext cx="927100" cy="850900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842B6CF5-85DA-472B-8752-869C6DB35DD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2522" y="1710047"/>
            <a:ext cx="927100" cy="85090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E66C2B31-0EB0-4C6A-B74A-3D7A1425BE7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7068" y="2917191"/>
            <a:ext cx="1077369" cy="1000414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F93CB4E-9FA9-4696-8833-B6A5F4698A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5551" y="2902222"/>
            <a:ext cx="1077369" cy="1000414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8930C845-396F-4626-BB21-291DE5EA9F6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439891" y="2934456"/>
            <a:ext cx="500207" cy="1000414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110DAEC-2E85-4A99-9B4A-E82BA6F563F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124797" y="2934456"/>
            <a:ext cx="500207" cy="1000414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F750B11-790C-44AF-857E-2D23B021FC8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786919" y="2917191"/>
            <a:ext cx="500207" cy="1000414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C6EE4F1C-C357-4F8E-80F2-04FA95013ED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67068" y="4442406"/>
            <a:ext cx="859536" cy="796202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05C5637E-B55F-4D35-B105-F4203BCC3ED5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035222" y="4448693"/>
            <a:ext cx="859536" cy="796202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8E0CFA3-E472-449B-BB9D-CB60FB76FFF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536822" y="4107714"/>
            <a:ext cx="859536" cy="1143000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DF26B239-9ECE-4D39-B3CD-C3B7C2FD2B3D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288300" y="4555349"/>
            <a:ext cx="907892" cy="683259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6BBB30FF-D2FA-4FC2-A382-E9BB2B52051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238373" y="4572145"/>
            <a:ext cx="859536" cy="64759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BC991219-DF4F-4F33-A323-3BA1C4A373C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105421" y="4442406"/>
            <a:ext cx="859536" cy="796202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EEA64A82-F870-43AD-880D-C4B8B1FC6E94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246418" y="4572145"/>
            <a:ext cx="927100" cy="698500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190CDA28-EE6F-496C-8BFA-4B4753FB5A5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391150" y="1459989"/>
            <a:ext cx="825500" cy="1143000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78564CF5-F090-4E20-91BD-C3F323866457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559633" y="1459989"/>
            <a:ext cx="825500" cy="1143000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64642973-C9EB-4298-B2DE-F4DE098A561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2167068" y="1417947"/>
            <a:ext cx="825500" cy="114300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567B0A09-E99D-4734-86A2-85718A8A77A4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4574835" y="2917191"/>
            <a:ext cx="1077369" cy="10004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6272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0E030-4E3B-47F4-9D67-8A7525220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con Library 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69259457-7257-4F82-9195-79C9DC9394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0155" y="1573471"/>
            <a:ext cx="666891" cy="706120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624427BB-7F27-4C6A-B8B3-56355A7D7E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5406" y="1573471"/>
            <a:ext cx="666891" cy="706120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059DD720-02FB-4852-9582-EFB0E41F43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90657" y="1573471"/>
            <a:ext cx="666891" cy="706120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D04C2111-891C-4554-902E-612DAA96D46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060838" y="1573471"/>
            <a:ext cx="1092200" cy="1092200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7924C68E-3612-497D-809E-BCABED547CF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46193" y="1555078"/>
            <a:ext cx="1092200" cy="1092200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C6A671AE-B08C-48D2-A796-77AC1B7F8F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621640" y="1573471"/>
            <a:ext cx="1092200" cy="1092200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A7454945-0B13-4D83-A213-29F0A70477D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953938" y="1428078"/>
            <a:ext cx="1346200" cy="1346200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92691193-5E1B-495A-95A7-A27EE48448F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03960" y="2769212"/>
            <a:ext cx="1525034" cy="1119832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B1E9BA98-20CF-4C0C-B0C6-01EE21D0D80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36775" y="3002851"/>
            <a:ext cx="1065957" cy="990491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955D291-69CD-4A22-90C7-9A0FAAA790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195599" y="3026504"/>
            <a:ext cx="1028700" cy="95250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E9A3DE32-10E8-4775-AA65-02EEFBCC913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54423" y="2989102"/>
            <a:ext cx="1028700" cy="952500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6CA5C2D0-505E-4141-BBA7-2DE34CCA475A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790905" y="3053798"/>
            <a:ext cx="882602" cy="939544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6F6D43E8-1B52-4DB6-8472-397FFC3951CE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745694" y="3057458"/>
            <a:ext cx="881867" cy="938762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E79666D3-F743-4785-975B-0D736CE0BD9F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699748" y="3061701"/>
            <a:ext cx="894773" cy="952500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2D028B2C-7A58-4597-8CA9-E4E35621992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778694" y="4675468"/>
            <a:ext cx="1359444" cy="908930"/>
          </a:xfrm>
          <a:prstGeom prst="rect">
            <a:avLst/>
          </a:prstGeom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551BAEC8-18A9-4300-B82C-C63F958D4F8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269254" y="4698265"/>
            <a:ext cx="1359444" cy="909782"/>
          </a:xfrm>
          <a:prstGeom prst="rect">
            <a:avLst/>
          </a:prstGeom>
        </p:spPr>
      </p:pic>
      <p:pic>
        <p:nvPicPr>
          <p:cNvPr id="60" name="Picture 59">
            <a:extLst>
              <a:ext uri="{FF2B5EF4-FFF2-40B4-BE49-F238E27FC236}">
                <a16:creationId xmlns:a16="http://schemas.microsoft.com/office/drawing/2014/main" id="{D19969F6-7EB0-4D0D-85FF-BD16D77EBF5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757469" y="4725917"/>
            <a:ext cx="1207403" cy="808031"/>
          </a:xfrm>
          <a:prstGeom prst="rect">
            <a:avLst/>
          </a:prstGeom>
        </p:spPr>
      </p:pic>
      <p:pic>
        <p:nvPicPr>
          <p:cNvPr id="61" name="Picture 60">
            <a:extLst>
              <a:ext uri="{FF2B5EF4-FFF2-40B4-BE49-F238E27FC236}">
                <a16:creationId xmlns:a16="http://schemas.microsoft.com/office/drawing/2014/main" id="{DC6927B1-C76C-4DCE-A643-0A6DC1EAA2F6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6423931" y="4421714"/>
            <a:ext cx="1207403" cy="1162684"/>
          </a:xfrm>
          <a:prstGeom prst="rect">
            <a:avLst/>
          </a:prstGeom>
        </p:spPr>
      </p:pic>
      <p:pic>
        <p:nvPicPr>
          <p:cNvPr id="62" name="Picture 61">
            <a:extLst>
              <a:ext uri="{FF2B5EF4-FFF2-40B4-BE49-F238E27FC236}">
                <a16:creationId xmlns:a16="http://schemas.microsoft.com/office/drawing/2014/main" id="{7B234C28-FF37-43BA-9B28-63BFA714747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771056" y="4421714"/>
            <a:ext cx="1208731" cy="1162684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C6406EAA-276A-4D87-8E4B-87E24F7293EF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9087978" y="4402836"/>
            <a:ext cx="1212160" cy="11626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5480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F0E030-4E3B-47F4-9D67-8A75252203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Icon Library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B5616F19-F735-437A-82A2-44B050E534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828" y="1344916"/>
            <a:ext cx="795165" cy="887806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A89D351E-E62A-40DE-BEC9-16A791DD6B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78967" y="1344917"/>
            <a:ext cx="795165" cy="887805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14683C10-9CE2-4B4D-BF91-A583B655D00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99106" y="1333611"/>
            <a:ext cx="795165" cy="887806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CBD01EE6-8594-4233-8A3E-24339C9C30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43730" y="1302528"/>
            <a:ext cx="1085286" cy="937997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61C3A09-39D7-46E6-85B0-47A8B81BE4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232655" y="1297577"/>
            <a:ext cx="1085286" cy="937997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F3DA77E2-CA98-4673-86E2-9D4CC14126A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21580" y="1297576"/>
            <a:ext cx="1085287" cy="93799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F1BB91BF-1642-4117-B2B1-ECE800A475A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27694" y="2703657"/>
            <a:ext cx="647859" cy="88780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DDAAC3ED-953A-49DC-85C5-F817E1A9C28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20699" y="2700047"/>
            <a:ext cx="647858" cy="887805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38879331-28A8-4701-B142-6E4D21CD8A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32277" y="2700047"/>
            <a:ext cx="647858" cy="88780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9FBCDA37-746B-4495-9216-5FC5E1CEEFD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486374" y="2704072"/>
            <a:ext cx="906610" cy="670514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0771606-E07E-4582-898C-4EC5E82770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0064224" y="2704072"/>
            <a:ext cx="906610" cy="67051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28A534DF-BA8D-4E6D-86BA-62495F7196B5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039" y="2526682"/>
            <a:ext cx="1090065" cy="1025293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A8ED8B34-63D7-41AD-AF8A-76D00EE7E83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034853" y="3855696"/>
            <a:ext cx="901043" cy="97908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2889E313-2B9F-44F4-80D0-BE9BC6052A2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256630" y="3952522"/>
            <a:ext cx="949760" cy="80729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0DF7E6E0-201C-4187-8EF8-1ADD906FBEE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256725" y="3940321"/>
            <a:ext cx="949760" cy="807296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A9154910-9817-4F78-BC90-BCB0C0BC3B26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282896" y="3940321"/>
            <a:ext cx="949760" cy="807296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9EDF8891-D495-4B31-B4B8-20304E54079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6212921" y="5323755"/>
            <a:ext cx="1000095" cy="581755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A8E3B948-4870-4D89-ADD8-73202F02516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7282896" y="5323755"/>
            <a:ext cx="1000095" cy="581755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043ACA1F-65C8-41E6-A1FA-8C6130DE9E5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5193281" y="5341201"/>
            <a:ext cx="949760" cy="55247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037171CC-D544-437D-976B-8057D43D4416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875647" y="5071416"/>
            <a:ext cx="390939" cy="840519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F392654E-88D2-42DF-8E8D-C50A4C61A3D6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417806" y="5071415"/>
            <a:ext cx="387951" cy="834095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07D1D3F8-26CB-4641-9F95-BC79C9925317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982574" y="5071416"/>
            <a:ext cx="387951" cy="834095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51C8E510-C8CF-45DC-8A64-F61E3C2223C9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8801452" y="3838927"/>
            <a:ext cx="2210363" cy="1930360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E655B161-A794-40D4-B147-C8CBC7274281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8645585" y="2570558"/>
            <a:ext cx="1219200" cy="901700"/>
          </a:xfrm>
          <a:prstGeom prst="rect">
            <a:avLst/>
          </a:prstGeom>
        </p:spPr>
      </p:pic>
      <p:pic>
        <p:nvPicPr>
          <p:cNvPr id="67" name="Picture 66">
            <a:extLst>
              <a:ext uri="{FF2B5EF4-FFF2-40B4-BE49-F238E27FC236}">
                <a16:creationId xmlns:a16="http://schemas.microsoft.com/office/drawing/2014/main" id="{8A442C70-0ABC-4262-84F9-E9BC91EBD3D9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172474" y="1368750"/>
            <a:ext cx="1219696" cy="1241476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1FDF4A78-F4ED-4D87-B5B8-4B61B35D3088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172474" y="3019604"/>
            <a:ext cx="1219696" cy="1241476"/>
          </a:xfrm>
          <a:prstGeom prst="rect">
            <a:avLst/>
          </a:prstGeom>
        </p:spPr>
      </p:pic>
      <p:pic>
        <p:nvPicPr>
          <p:cNvPr id="69" name="Picture 68">
            <a:extLst>
              <a:ext uri="{FF2B5EF4-FFF2-40B4-BE49-F238E27FC236}">
                <a16:creationId xmlns:a16="http://schemas.microsoft.com/office/drawing/2014/main" id="{D176EFD4-4CFE-488E-B0BE-6F23E15B9926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1172474" y="4670459"/>
            <a:ext cx="1219696" cy="1241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155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1487350-AD04-4086-88D3-FB73408CBA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Ons</a:t>
            </a:r>
            <a:r>
              <a:rPr lang="en-ZA" b="1" dirty="0"/>
              <a:t> </a:t>
            </a:r>
            <a:r>
              <a:rPr lang="en-ZA" b="1" dirty="0" err="1"/>
              <a:t>Visie</a:t>
            </a:r>
            <a:r>
              <a:rPr lang="en-ZA" b="1" dirty="0"/>
              <a:t>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</a:t>
            </a:r>
            <a:r>
              <a:rPr lang="en-ZA" b="1" dirty="0" err="1"/>
              <a:t>Kernwaardes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416941225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classroom&#10;&#10;Description automatically generated with medium confidence">
            <a:extLst>
              <a:ext uri="{FF2B5EF4-FFF2-40B4-BE49-F238E27FC236}">
                <a16:creationId xmlns:a16="http://schemas.microsoft.com/office/drawing/2014/main" id="{D135F396-AD74-4BBF-9150-6412BA4726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115944"/>
            <a:ext cx="12579753" cy="838650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ED515D1-4387-45FD-8F5E-AACA48529A05}"/>
              </a:ext>
            </a:extLst>
          </p:cNvPr>
          <p:cNvSpPr/>
          <p:nvPr/>
        </p:nvSpPr>
        <p:spPr>
          <a:xfrm>
            <a:off x="853466" y="3601696"/>
            <a:ext cx="3836248" cy="2573153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Gehalte</a:t>
            </a:r>
            <a:r>
              <a:rPr lang="en-US" sz="3000" b="1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Onderwys</a:t>
            </a:r>
            <a:endParaRPr lang="en-US" sz="3000" b="1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vir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klaskamer</a:t>
            </a:r>
            <a:endParaRPr lang="en-US" sz="3000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skool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die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provinsi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82121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8A42B0-3FD9-4C6A-A3DD-7845EAB04C9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Temas</a:t>
            </a:r>
            <a:r>
              <a:rPr lang="en-ZA" b="1" dirty="0"/>
              <a:t> 2017 ― 2022</a:t>
            </a:r>
          </a:p>
        </p:txBody>
      </p:sp>
    </p:spTree>
    <p:extLst>
      <p:ext uri="{BB962C8B-B14F-4D97-AF65-F5344CB8AC3E}">
        <p14:creationId xmlns:p14="http://schemas.microsoft.com/office/powerpoint/2010/main" val="37114350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ext, person, table&#10;&#10;Description automatically generated">
            <a:extLst>
              <a:ext uri="{FF2B5EF4-FFF2-40B4-BE49-F238E27FC236}">
                <a16:creationId xmlns:a16="http://schemas.microsoft.com/office/drawing/2014/main" id="{6DAE69DA-C3D5-4CEC-AC08-9B1898AD84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4300" y="-1346200"/>
            <a:ext cx="12306300" cy="82042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16E7907-791D-4C4B-9AA6-105DF5EF7171}"/>
              </a:ext>
            </a:extLst>
          </p:cNvPr>
          <p:cNvSpPr/>
          <p:nvPr/>
        </p:nvSpPr>
        <p:spPr>
          <a:xfrm>
            <a:off x="853466" y="3601696"/>
            <a:ext cx="3836248" cy="2573153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Gehalte</a:t>
            </a:r>
            <a:r>
              <a:rPr lang="en-US" sz="3000" b="1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Onderwys</a:t>
            </a:r>
            <a:endParaRPr lang="en-US" sz="3000" b="1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vir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klaskamer</a:t>
            </a:r>
            <a:endParaRPr lang="en-US" sz="3000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skool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die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provinsi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860934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kitchen, floor, ceiling&#10;&#10;Description automatically generated">
            <a:extLst>
              <a:ext uri="{FF2B5EF4-FFF2-40B4-BE49-F238E27FC236}">
                <a16:creationId xmlns:a16="http://schemas.microsoft.com/office/drawing/2014/main" id="{788BD79F-02DA-4093-9A50-CBB6ECE8779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924539"/>
            <a:ext cx="13173808" cy="8782539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FC56E0A-D239-4D45-88E3-CEBEDC81BAF3}"/>
              </a:ext>
            </a:extLst>
          </p:cNvPr>
          <p:cNvSpPr/>
          <p:nvPr/>
        </p:nvSpPr>
        <p:spPr>
          <a:xfrm>
            <a:off x="853466" y="3601696"/>
            <a:ext cx="3836248" cy="2573153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Gehalte</a:t>
            </a:r>
            <a:r>
              <a:rPr lang="en-US" sz="3000" b="1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Onderwys</a:t>
            </a:r>
            <a:endParaRPr lang="en-US" sz="3000" b="1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vir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klaskamer</a:t>
            </a:r>
            <a:endParaRPr lang="en-US" sz="3000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skool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die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provinsi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603222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indoor, person, table, ceiling&#10;&#10;Description automatically generated">
            <a:extLst>
              <a:ext uri="{FF2B5EF4-FFF2-40B4-BE49-F238E27FC236}">
                <a16:creationId xmlns:a16="http://schemas.microsoft.com/office/drawing/2014/main" id="{70A1F45E-87E5-49C1-BAF5-D0B9D80F8CA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72208" y="-759070"/>
            <a:ext cx="12564208" cy="837613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476F63F-07CD-44DE-BF8A-A36FC2B2739C}"/>
              </a:ext>
            </a:extLst>
          </p:cNvPr>
          <p:cNvSpPr/>
          <p:nvPr/>
        </p:nvSpPr>
        <p:spPr>
          <a:xfrm>
            <a:off x="853466" y="3601696"/>
            <a:ext cx="3836248" cy="2573153"/>
          </a:xfrm>
          <a:prstGeom prst="rect">
            <a:avLst/>
          </a:prstGeom>
          <a:solidFill>
            <a:schemeClr val="bg1">
              <a:alpha val="72000"/>
            </a:schemeClr>
          </a:solidFill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Gehalte</a:t>
            </a:r>
            <a:r>
              <a:rPr lang="en-US" sz="3000" b="1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b="1" dirty="0" err="1">
                <a:solidFill>
                  <a:srgbClr val="001484"/>
                </a:solidFill>
                <a:latin typeface="Century Gothic"/>
                <a:cs typeface="Century Gothic"/>
              </a:rPr>
              <a:t>Onderwys</a:t>
            </a:r>
            <a:endParaRPr lang="en-US" sz="3000" b="1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vir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klaskamer</a:t>
            </a:r>
            <a:endParaRPr lang="en-US" sz="3000" dirty="0">
              <a:solidFill>
                <a:srgbClr val="001484"/>
              </a:solidFill>
              <a:latin typeface="Century Gothic"/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elk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skool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in die </a:t>
            </a:r>
            <a:r>
              <a:rPr lang="en-US" sz="3000" dirty="0" err="1">
                <a:solidFill>
                  <a:srgbClr val="001484"/>
                </a:solidFill>
                <a:latin typeface="Century Gothic"/>
                <a:cs typeface="Century Gothic"/>
              </a:rPr>
              <a:t>provinsie</a:t>
            </a:r>
            <a:r>
              <a:rPr lang="en-US" sz="3000" dirty="0">
                <a:solidFill>
                  <a:srgbClr val="001484"/>
                </a:solidFill>
                <a:latin typeface="Century Gothic"/>
                <a:cs typeface="Century Gothic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0979960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rgbClr val="001484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rgbClr val="001484"/>
                </a:solidFill>
              </a:rPr>
              <a:t>Onderwys</a:t>
            </a:r>
            <a:endParaRPr lang="en-US" sz="4400" dirty="0">
              <a:solidFill>
                <a:srgbClr val="001484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AEF072-181D-4F67-9C20-59AAD5DEB22D}"/>
              </a:ext>
            </a:extLst>
          </p:cNvPr>
          <p:cNvSpPr txBox="1"/>
          <p:nvPr/>
        </p:nvSpPr>
        <p:spPr>
          <a:xfrm>
            <a:off x="2170018" y="5178172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187909-9E4B-4FCC-BE42-851A1A2E4250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9630C-7F12-443C-92CA-348D7A32718B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E12281-9AFC-410D-8F55-7A845EDE6F21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8B2171-853A-4923-8F8B-60C887DEBEC6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17CECC-7401-4F95-A705-7504739EC34A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254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ir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klaskamer</a:t>
            </a:r>
            <a:endParaRPr lang="en-ZA" sz="3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kool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die </a:t>
            </a:r>
            <a:r>
              <a:rPr lang="en-ZA" sz="3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3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/>
              <a:t>Visi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69346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chemeClr val="bg1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chemeClr val="bg1"/>
                </a:solidFill>
              </a:rPr>
              <a:t>Onderwy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6AEF072-181D-4F67-9C20-59AAD5DEB22D}"/>
              </a:ext>
            </a:extLst>
          </p:cNvPr>
          <p:cNvSpPr txBox="1"/>
          <p:nvPr/>
        </p:nvSpPr>
        <p:spPr>
          <a:xfrm>
            <a:off x="2170018" y="5178172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E187909-9E4B-4FCC-BE42-851A1A2E4250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AA9630C-7F12-443C-92CA-348D7A32718B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BE12281-9AFC-410D-8F55-7A845EDE6F21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48B2171-853A-4923-8F8B-60C887DEBEC6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417CECC-7401-4F95-A705-7504739EC34A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254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ir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laskamer</a:t>
            </a:r>
            <a:endParaRPr lang="en-ZA" sz="3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kool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die </a:t>
            </a:r>
            <a:r>
              <a:rPr lang="en-ZA" sz="3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E3910-AF22-4BEB-B8EB-C725406FBA3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28663" y="180975"/>
            <a:ext cx="11463337" cy="558800"/>
          </a:xfrm>
        </p:spPr>
        <p:txBody>
          <a:bodyPr/>
          <a:lstStyle/>
          <a:p>
            <a:r>
              <a:rPr lang="en-ZA" dirty="0" err="1">
                <a:solidFill>
                  <a:schemeClr val="bg1"/>
                </a:solidFill>
              </a:rPr>
              <a:t>Visie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1559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  <a:t>ONS KERNWAARDES</a:t>
            </a:r>
            <a:br>
              <a:rPr lang="en-US" sz="8000" b="1" spc="240" dirty="0">
                <a:solidFill>
                  <a:srgbClr val="001484"/>
                </a:solidFill>
                <a:latin typeface="Century Gothic" panose="020B0502020202020204" pitchFamily="34" charset="0"/>
              </a:rPr>
            </a:b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Hierdie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waardes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is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ons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leidende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beginsels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wat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ons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voor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staan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en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waarin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ons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 </a:t>
            </a:r>
            <a:r>
              <a:rPr lang="en-US" sz="1600" b="1" dirty="0" err="1">
                <a:solidFill>
                  <a:srgbClr val="5B7F95"/>
                </a:solidFill>
                <a:latin typeface="Century Gothic" panose="020B0502020202020204" pitchFamily="34" charset="0"/>
              </a:rPr>
              <a:t>glo</a:t>
            </a:r>
            <a:r>
              <a:rPr lang="en-US" sz="1600" b="1" dirty="0">
                <a:solidFill>
                  <a:srgbClr val="5B7F95"/>
                </a:solidFill>
                <a:latin typeface="Century Gothic" panose="020B0502020202020204" pitchFamily="34" charset="0"/>
              </a:rPr>
              <a:t>.</a:t>
            </a:r>
            <a:endParaRPr lang="en-ZA" sz="1600" dirty="0">
              <a:solidFill>
                <a:srgbClr val="5B7F95"/>
              </a:solidFill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768D17E-014E-42C8-9C7D-8C3888DA87FD}"/>
              </a:ext>
            </a:extLst>
          </p:cNvPr>
          <p:cNvGrpSpPr/>
          <p:nvPr/>
        </p:nvGrpSpPr>
        <p:grpSpPr>
          <a:xfrm>
            <a:off x="2103278" y="1757460"/>
            <a:ext cx="7985443" cy="3500754"/>
            <a:chOff x="985838" y="1833246"/>
            <a:chExt cx="7985443" cy="3500754"/>
          </a:xfrm>
          <a:effectLst/>
        </p:grpSpPr>
        <p:pic>
          <p:nvPicPr>
            <p:cNvPr id="18" name="Picture 2">
              <a:extLst>
                <a:ext uri="{FF2B5EF4-FFF2-40B4-BE49-F238E27FC236}">
                  <a16:creationId xmlns:a16="http://schemas.microsoft.com/office/drawing/2014/main" id="{1A235F7E-4A68-4507-ABD2-17FD7597ECD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192024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1">
              <a:extLst>
                <a:ext uri="{FF2B5EF4-FFF2-40B4-BE49-F238E27FC236}">
                  <a16:creationId xmlns:a16="http://schemas.microsoft.com/office/drawing/2014/main" id="{D7917F51-732C-4605-AF72-33BD1D5EC1C7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3085783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C2570D8A-49CB-4B6A-B987-FE79D525453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426974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1">
              <a:extLst>
                <a:ext uri="{FF2B5EF4-FFF2-40B4-BE49-F238E27FC236}">
                  <a16:creationId xmlns:a16="http://schemas.microsoft.com/office/drawing/2014/main" id="{EB0864BD-3679-4534-AF93-A07E8CC836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2700" y="1912938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1">
              <a:extLst>
                <a:ext uri="{FF2B5EF4-FFF2-40B4-BE49-F238E27FC236}">
                  <a16:creationId xmlns:a16="http://schemas.microsoft.com/office/drawing/2014/main" id="{F48D3FD0-25B2-4538-AC72-B8DF4E65B97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2700" y="4269740"/>
              <a:ext cx="76962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TextBox 4">
              <a:extLst>
                <a:ext uri="{FF2B5EF4-FFF2-40B4-BE49-F238E27FC236}">
                  <a16:creationId xmlns:a16="http://schemas.microsoft.com/office/drawing/2014/main" id="{FD6B06CF-CFA0-466B-A38D-28B6D23475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Reageer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aan die behoeftes van ons burgers en werknemers te vol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25" name="TextBox 4">
              <a:extLst>
                <a:ext uri="{FF2B5EF4-FFF2-40B4-BE49-F238E27FC236}">
                  <a16:creationId xmlns:a16="http://schemas.microsoft.com/office/drawing/2014/main" id="{C9468389-3F54-4CFC-B414-0B6A836E987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Aanspreeklikheid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ons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aanvaar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verantwoordelikhei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26" name="TextBox 4">
              <a:extLst>
                <a:ext uri="{FF2B5EF4-FFF2-40B4-BE49-F238E27FC236}">
                  <a16:creationId xmlns:a16="http://schemas.microsoft.com/office/drawing/2014/main" id="{27613D98-EDBB-48DB-8F4E-C92FAD14F31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3007043"/>
              <a:ext cx="2722879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nl-NL" sz="2700" b="1" dirty="0">
                  <a:solidFill>
                    <a:srgbClr val="001489"/>
                  </a:solidFill>
                  <a:latin typeface="Century Gothic" charset="0"/>
                </a:rPr>
                <a:t>Bevoegdheid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die vermoë en bevoegdheid om die werk te doen waarvoor ons aangestel is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27" name="TextBox 4">
              <a:extLst>
                <a:ext uri="{FF2B5EF4-FFF2-40B4-BE49-F238E27FC236}">
                  <a16:creationId xmlns:a16="http://schemas.microsoft.com/office/drawing/2014/main" id="{6744FB07-9F48-4E13-AA05-185E7AB95F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300600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Vernuwing</a:t>
              </a:r>
              <a:r>
                <a:rPr lang="en-US" sz="2700" b="1" dirty="0">
                  <a:solidFill>
                    <a:srgbClr val="001489"/>
                  </a:solidFill>
                  <a:latin typeface="Century Gothic" charset="0"/>
                </a:rPr>
                <a:t>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ontvanklik te wees vir nuwe idees en op vindingryke wyse kreatiewe oplossings vir probleme te vin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28" name="TextBox 4">
              <a:extLst>
                <a:ext uri="{FF2B5EF4-FFF2-40B4-BE49-F238E27FC236}">
                  <a16:creationId xmlns:a16="http://schemas.microsoft.com/office/drawing/2014/main" id="{BF94F6FD-F018-4AE1-9B5E-7C488919E44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192024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Integriteit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eerlik te wees en die regte ding </a:t>
              </a:r>
              <a:br>
                <a:rPr lang="nl-NL" sz="1200" dirty="0">
                  <a:solidFill>
                    <a:srgbClr val="001489"/>
                  </a:solidFill>
                  <a:latin typeface="Century Gothic" charset="0"/>
                </a:rPr>
              </a:b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te 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29" name="TextBox 4">
              <a:extLst>
                <a:ext uri="{FF2B5EF4-FFF2-40B4-BE49-F238E27FC236}">
                  <a16:creationId xmlns:a16="http://schemas.microsoft.com/office/drawing/2014/main" id="{9EC49AB9-3715-4DBA-8041-A0680CCCEB8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1833246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Sorgsaam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te gee vir diegene in wie se diens ons is en met wie ons werk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</p:grpSp>
      <p:pic>
        <p:nvPicPr>
          <p:cNvPr id="30" name="Picture 29">
            <a:extLst>
              <a:ext uri="{FF2B5EF4-FFF2-40B4-BE49-F238E27FC236}">
                <a16:creationId xmlns:a16="http://schemas.microsoft.com/office/drawing/2014/main" id="{3CEC9ACC-6A15-457B-81FE-E59F5704C95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5060" y="3007457"/>
            <a:ext cx="774700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10911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7983A5-A733-47D5-AB13-B4D7E71660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668F873-CCC2-4628-89BD-48E382139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6137" y="2340000"/>
            <a:ext cx="4719725" cy="1800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910324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7983A5-A733-47D5-AB13-B4D7E71660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B300E8A-F2F4-4D7D-AF8C-87DCC3AB22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6134" y="2340000"/>
            <a:ext cx="4719732" cy="1800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44654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68F873-CCC2-4628-89BD-48E382139D0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6137" y="2340000"/>
            <a:ext cx="4719725" cy="1800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4890E7C-06A4-441D-8E24-9FBC0EACAA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1970483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B300E8A-F2F4-4D7D-AF8C-87DCC3AB22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36134" y="2340000"/>
            <a:ext cx="4719732" cy="1800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7938FD15-C91E-4545-A7CF-EF45865746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500003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F08B95-513B-4EDA-A9FE-490FA76A944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476086" y="2101294"/>
            <a:ext cx="7239828" cy="2655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357116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5EDBF74-0381-4517-962B-6C5B61DE2B4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dirty="0"/>
              <a:t>Transform to Perform</a:t>
            </a:r>
          </a:p>
        </p:txBody>
      </p:sp>
    </p:spTree>
    <p:extLst>
      <p:ext uri="{BB962C8B-B14F-4D97-AF65-F5344CB8AC3E}">
        <p14:creationId xmlns:p14="http://schemas.microsoft.com/office/powerpoint/2010/main" val="341834768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17983A5-A733-47D5-AB13-B4D7E716602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BCE0108-1986-47AE-9DB3-7B51F7063E2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95675" y="2340000"/>
            <a:ext cx="4400649" cy="1800000"/>
          </a:xfrm>
          <a:prstGeom prst="rect">
            <a:avLst/>
          </a:prstGeom>
          <a:effectLst>
            <a:outerShdw blurRad="635000" dist="762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12813398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4D86D5-8495-4603-AB81-EBAACE0AF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5CCDA8E-0677-4065-AC0A-2ADFB776C04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02795" y="2340000"/>
            <a:ext cx="4386410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59242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6DD659C-32E5-4CD9-B65A-C631BA131D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Inenting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417197455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FDAFE-751F-49E9-8C51-34A68D0A83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/>
              <a:t>Inenting</a:t>
            </a:r>
            <a:endParaRPr lang="en-Z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5CE5F7F-4A38-427F-8613-27848A5F51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344" y="1926155"/>
            <a:ext cx="3006000" cy="3006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FCE47F3-F994-4038-90C3-AC691359376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3000" y="1925845"/>
            <a:ext cx="3006000" cy="3006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75C420E-56E2-4ED2-B241-EBDB327B2F8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13656" y="1925845"/>
            <a:ext cx="3006000" cy="30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233149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>
            <a:extLst>
              <a:ext uri="{FF2B5EF4-FFF2-40B4-BE49-F238E27FC236}">
                <a16:creationId xmlns:a16="http://schemas.microsoft.com/office/drawing/2014/main" id="{37EFBE31-799C-4B39-8A44-D3F90466A5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2A0E56-5202-4E08-8B4A-9DAFA9713E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4648" y="2012740"/>
            <a:ext cx="7722704" cy="2832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2425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2611653-226C-4DB8-8ED0-01142FF61B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8417" y="2708994"/>
            <a:ext cx="4117544" cy="1008000"/>
          </a:xfrm>
          <a:prstGeom prst="rect">
            <a:avLst/>
          </a:prstGeom>
          <a:effectLst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E0332EA-E62F-4F2C-AE26-880BC681A17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417" y="4264454"/>
            <a:ext cx="3199865" cy="1008000"/>
          </a:xfrm>
          <a:prstGeom prst="rect">
            <a:avLst/>
          </a:prstGeom>
          <a:effectLst/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06CA4DD5-41FD-4AEE-A0CE-3C917B2C7E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3259" y="655333"/>
            <a:ext cx="3621473" cy="1692000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5">
            <a:extLst>
              <a:ext uri="{FF2B5EF4-FFF2-40B4-BE49-F238E27FC236}">
                <a16:creationId xmlns:a16="http://schemas.microsoft.com/office/drawing/2014/main" id="{A6EAB7A6-CECD-407A-9CA0-076D4CB17BD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3996" y="2509170"/>
            <a:ext cx="3600000" cy="1038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96356CA-405F-4981-86E5-CD709F3B7C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08417" y="841133"/>
            <a:ext cx="3600000" cy="132040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8681DCE-3618-4FE6-9F1B-38AE868BA56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84732" y="4264454"/>
            <a:ext cx="3600000" cy="1146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74649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5ED06-5E0A-4572-B3E1-64BF8BAFA9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Opgedateerde</a:t>
            </a:r>
            <a:r>
              <a:rPr lang="en-ZA" b="1" dirty="0"/>
              <a:t> logo </a:t>
            </a:r>
            <a:r>
              <a:rPr lang="en-ZA" b="1" dirty="0" err="1"/>
              <a:t>vir</a:t>
            </a:r>
            <a:r>
              <a:rPr lang="en-ZA" b="1" dirty="0"/>
              <a:t> WKR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WKOD</a:t>
            </a:r>
          </a:p>
        </p:txBody>
      </p:sp>
    </p:spTree>
    <p:extLst>
      <p:ext uri="{BB962C8B-B14F-4D97-AF65-F5344CB8AC3E}">
        <p14:creationId xmlns:p14="http://schemas.microsoft.com/office/powerpoint/2010/main" val="1012851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DBF6CC-6F2D-4DDE-8D77-1F5B87423D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BE9C286-7284-45AA-A0EA-6FD6D20671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2248" y="2160000"/>
            <a:ext cx="484705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5015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8782B2-8B73-458A-86A3-4442A24F61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1FDAA99-6273-4213-8D55-520E1CD7D6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01641" y="2160000"/>
            <a:ext cx="484705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BDBF6CC-6F2D-4DDE-8D77-1F5B87423D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87CE146-09CA-4D1E-B48A-1C5463C5D4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9060" y="2160000"/>
            <a:ext cx="4813880" cy="14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89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21</TotalTime>
  <Words>244</Words>
  <Application>Microsoft Office PowerPoint</Application>
  <PresentationFormat>Widescreen</PresentationFormat>
  <Paragraphs>72</Paragraphs>
  <Slides>3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40" baseType="lpstr">
      <vt:lpstr>Arial</vt:lpstr>
      <vt:lpstr>Calibri</vt:lpstr>
      <vt:lpstr>Century Gothic</vt:lpstr>
      <vt:lpstr>WCG-PPT Master-121022-am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con Library </vt:lpstr>
      <vt:lpstr>Icon Library </vt:lpstr>
      <vt:lpstr>Icon Library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e</vt:lpstr>
      <vt:lpstr>Visie</vt:lpstr>
      <vt:lpstr>ONS KERNWAARDES Hierdie waardes is ons leidende beginsels wat ons voor staan en waarin ons glo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nenting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Melvine De Vos</cp:lastModifiedBy>
  <cp:revision>1530</cp:revision>
  <cp:lastPrinted>2019-01-28T07:09:01Z</cp:lastPrinted>
  <dcterms:created xsi:type="dcterms:W3CDTF">2017-01-19T08:56:34Z</dcterms:created>
  <dcterms:modified xsi:type="dcterms:W3CDTF">2021-12-13T08:23:35Z</dcterms:modified>
</cp:coreProperties>
</file>